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5544800" cy="100584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489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7288" autoAdjust="0"/>
  </p:normalViewPr>
  <p:slideViewPr>
    <p:cSldViewPr snapToGrid="0" snapToObjects="1">
      <p:cViewPr varScale="1">
        <p:scale>
          <a:sx n="66" d="100"/>
          <a:sy n="66" d="100"/>
        </p:scale>
        <p:origin x="1998" y="84"/>
      </p:cViewPr>
      <p:guideLst>
        <p:guide pos="4896"/>
        <p:guide orient="horz" pos="3168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-918"/>
    </p:cViewPr>
  </p:notesTextViewPr>
  <p:notesViewPr>
    <p:cSldViewPr snapToGrid="0" snapToObjects="1">
      <p:cViewPr varScale="1">
        <p:scale>
          <a:sx n="121" d="100"/>
          <a:sy n="121" d="100"/>
        </p:scale>
        <p:origin x="76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4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4575" y="1143000"/>
            <a:ext cx="4768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ENT UTILISER CE MODÈLE :</a:t>
            </a:r>
            <a:br>
              <a:rPr lang="en-US" sz="800" dirty="0"/>
            </a:br>
            <a:endParaRPr lang="en-US" sz="800" dirty="0"/>
          </a:p>
          <a:p>
            <a:pPr marL="228600" lvl="0" indent="-228600">
              <a:buFont typeface="+mj-lt"/>
              <a:buAutoNum type="arabicPeriod"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ifiez votre diapositive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Remplacez le texte par défaut par votre prénom et votre nom de famille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ez dans Fichier → Enregistrer sous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Choisissez l’emplacement où vous souhaitez enregistrer votre </a:t>
            </a:r>
            <a:r>
              <a:rPr lang="fr-CA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chier.</a:t>
            </a:r>
            <a:br>
              <a:rPr lang="fr-CA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ifiez le type de fichier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Dans le menu déroulant « Type de fichier », sélectionnez : Format JPEG (*.jpg)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quez sur Enregistrer.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PowerPoint vous demandera quelles diapositives vous voulez enregistrer, « Toutes les diapositives » ou « Celle-ci uniquement »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Sélectionnez « Celle-ci uniquement »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’est fait!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tre fichier JPEG sera enregistré dans le dossier sélectionné, prêt à être partagé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1" y="805"/>
            <a:ext cx="15538437" cy="10056787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VOTRE NOM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59325-065C-4F73-924A-3EFB7322F4AE}"/>
              </a:ext>
            </a:extLst>
          </p:cNvPr>
          <p:cNvGrpSpPr/>
          <p:nvPr userDrawn="1"/>
        </p:nvGrpSpPr>
        <p:grpSpPr>
          <a:xfrm>
            <a:off x="-4649188" y="4658"/>
            <a:ext cx="4407247" cy="6019559"/>
            <a:chOff x="10477007" y="683441"/>
            <a:chExt cx="4407247" cy="601955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BFC76F9-2215-ED55-AF0F-6EF92A48B79D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7735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OMMENT UTILISER CE MODÈLE :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B68B8D-776A-0247-A6DE-7CF050B498CA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50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 err="1">
                  <a:solidFill>
                    <a:schemeClr val="tx2"/>
                  </a:solidFill>
                </a:rPr>
                <a:t>Modifiez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votre</a:t>
              </a:r>
              <a:r>
                <a:rPr lang="en-US" sz="1600" b="1" dirty="0">
                  <a:solidFill>
                    <a:schemeClr val="tx2"/>
                  </a:solidFill>
                </a:rPr>
                <a:t> diapositive.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mplacez le texte par défaut par votre prénom et votre nom de famille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Allez dans Fichier → Enregistrer sous.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 err="1">
                  <a:solidFill>
                    <a:schemeClr val="tx2"/>
                  </a:solidFill>
                </a:rPr>
                <a:t>Choisiss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l’emplacement</a:t>
              </a:r>
              <a:r>
                <a:rPr lang="en-US" sz="1600" b="0" dirty="0">
                  <a:solidFill>
                    <a:schemeClr val="tx2"/>
                  </a:solidFill>
                </a:rPr>
                <a:t> où vous </a:t>
              </a:r>
              <a:r>
                <a:rPr lang="en-US" sz="1600" b="0" dirty="0" err="1">
                  <a:solidFill>
                    <a:schemeClr val="tx2"/>
                  </a:solidFill>
                </a:rPr>
                <a:t>souhait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vo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Modifiez</a:t>
              </a:r>
              <a:r>
                <a:rPr lang="en-US" sz="1600" b="1" dirty="0">
                  <a:solidFill>
                    <a:schemeClr val="tx2"/>
                  </a:solidFill>
                </a:rPr>
                <a:t> le type de </a:t>
              </a:r>
              <a:r>
                <a:rPr lang="en-US" sz="1600" b="1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1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Dans le menu </a:t>
              </a:r>
              <a:r>
                <a:rPr lang="en-US" sz="1600" b="0" dirty="0" err="1">
                  <a:solidFill>
                    <a:schemeClr val="tx2"/>
                  </a:solidFill>
                </a:rPr>
                <a:t>déroulant</a:t>
              </a:r>
              <a:r>
                <a:rPr lang="en-US" sz="1600" b="0" dirty="0">
                  <a:solidFill>
                    <a:schemeClr val="tx2"/>
                  </a:solidFill>
                </a:rPr>
                <a:t> « Type de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 », </a:t>
              </a:r>
              <a:r>
                <a:rPr lang="en-US" sz="1600" b="0" dirty="0" err="1">
                  <a:solidFill>
                    <a:schemeClr val="tx2"/>
                  </a:solidFill>
                </a:rPr>
                <a:t>sélectionnez</a:t>
              </a:r>
              <a:r>
                <a:rPr lang="en-US" sz="1600" b="0" dirty="0">
                  <a:solidFill>
                    <a:schemeClr val="tx2"/>
                  </a:solidFill>
                </a:rPr>
                <a:t> : Format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Cliquez</a:t>
              </a:r>
              <a:r>
                <a:rPr lang="en-US" sz="1600" b="1" dirty="0">
                  <a:solidFill>
                    <a:schemeClr val="tx2"/>
                  </a:solidFill>
                </a:rPr>
                <a:t> sur </a:t>
              </a:r>
              <a:r>
                <a:rPr lang="en-US" sz="1600" b="1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1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– PowerPoint vous demandera quelles diapositives vous voulez enregistrer, « Toutes les diapositives » ou « Celle-ci uniquement »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– Sélectionnez « Celle-ci uniquement »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C’est</a:t>
              </a:r>
              <a:r>
                <a:rPr lang="en-US" sz="1600" b="1" dirty="0">
                  <a:solidFill>
                    <a:schemeClr val="tx2"/>
                  </a:solidFill>
                </a:rPr>
                <a:t> fait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 err="1">
                  <a:solidFill>
                    <a:schemeClr val="tx2"/>
                  </a:solidFill>
                </a:rPr>
                <a:t>Vo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 JPEG sera </a:t>
              </a:r>
              <a:r>
                <a:rPr lang="en-US" sz="1600" b="0" dirty="0" err="1">
                  <a:solidFill>
                    <a:schemeClr val="tx2"/>
                  </a:solidFill>
                </a:rPr>
                <a:t>enregistré</a:t>
              </a:r>
              <a:r>
                <a:rPr lang="en-US" sz="1600" b="0" dirty="0">
                  <a:solidFill>
                    <a:schemeClr val="tx2"/>
                  </a:solidFill>
                </a:rPr>
                <a:t> dans le dossier </a:t>
              </a:r>
              <a:r>
                <a:rPr lang="en-US" sz="1600" b="0" dirty="0" err="1">
                  <a:solidFill>
                    <a:schemeClr val="tx2"/>
                  </a:solidFill>
                </a:rPr>
                <a:t>sélectionné</a:t>
              </a:r>
              <a:r>
                <a:rPr lang="en-US" sz="1600" b="0" dirty="0">
                  <a:solidFill>
                    <a:schemeClr val="tx2"/>
                  </a:solidFill>
                </a:rPr>
                <a:t>, prêt à </a:t>
              </a:r>
              <a:r>
                <a:rPr lang="en-US" sz="1600" b="0" dirty="0" err="1">
                  <a:solidFill>
                    <a:schemeClr val="tx2"/>
                  </a:solidFill>
                </a:rPr>
                <a:t>ê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artagé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A735EBA-6E12-0CE4-ADA7-8C4EA1E104F0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00AA56E-D283-3E73-2CB6-911BF04361D5}"/>
                </a:ext>
              </a:extLst>
            </p:cNvPr>
            <p:cNvSpPr/>
            <p:nvPr userDrawn="1"/>
          </p:nvSpPr>
          <p:spPr>
            <a:xfrm>
              <a:off x="10649436" y="2211180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8DBABED-CBB2-8772-CD4D-7F569FEC79E3}"/>
                </a:ext>
              </a:extLst>
            </p:cNvPr>
            <p:cNvSpPr/>
            <p:nvPr userDrawn="1"/>
          </p:nvSpPr>
          <p:spPr>
            <a:xfrm>
              <a:off x="10645282" y="3208080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0C457C-D8BC-A5C2-3A73-745D057EDAC1}"/>
                </a:ext>
              </a:extLst>
            </p:cNvPr>
            <p:cNvSpPr/>
            <p:nvPr userDrawn="1"/>
          </p:nvSpPr>
          <p:spPr>
            <a:xfrm>
              <a:off x="10651236" y="4209106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67B4783-77AB-65F1-69F2-1FF3DA4A8276}"/>
                </a:ext>
              </a:extLst>
            </p:cNvPr>
            <p:cNvSpPr/>
            <p:nvPr userDrawn="1"/>
          </p:nvSpPr>
          <p:spPr>
            <a:xfrm>
              <a:off x="10646592" y="5877847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998855"/>
            <a:ext cx="13407391" cy="8363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705" y="2111270"/>
            <a:ext cx="13407391" cy="694827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705" y="9322648"/>
            <a:ext cx="3497580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4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8706" y="331788"/>
            <a:ext cx="13407389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76447" y="9335601"/>
            <a:ext cx="661974" cy="53551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267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</p:sldLayoutIdLst>
  <p:hf sldNum="0" hdr="0"/>
  <p:txStyles>
    <p:titleStyle>
      <a:lvl1pPr algn="l" defTabSz="2072625" rtl="0" eaLnBrk="1" latinLnBrk="0" hangingPunct="1">
        <a:lnSpc>
          <a:spcPct val="90000"/>
        </a:lnSpc>
        <a:spcBef>
          <a:spcPct val="0"/>
        </a:spcBef>
        <a:buNone/>
        <a:defRPr sz="9067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414525" indent="-414525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1pPr>
      <a:lvl2pPr marL="1554469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2pPr>
      <a:lvl3pPr marL="2590781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3pPr>
      <a:lvl4pPr marL="3627093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4pPr>
      <a:lvl5pPr marL="4663406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5pPr>
      <a:lvl6pPr marL="5699718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030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343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655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1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25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893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25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56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7874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18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499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1A474B-5BD8-C857-D78F-5F7D802FF7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825</TotalTime>
  <Words>125</Words>
  <Application>Microsoft Office PowerPoint</Application>
  <PresentationFormat>Custom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91</cp:revision>
  <dcterms:created xsi:type="dcterms:W3CDTF">2026-05-20T21:46:16Z</dcterms:created>
  <dcterms:modified xsi:type="dcterms:W3CDTF">2026-06-24T22:5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